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</p:sldMasterIdLst>
  <p:notesMasterIdLst>
    <p:notesMasterId r:id="rId16"/>
  </p:notesMasterIdLst>
  <p:handoutMasterIdLst>
    <p:handoutMasterId r:id="rId17"/>
  </p:handoutMasterIdLst>
  <p:sldIdLst>
    <p:sldId id="265" r:id="rId5"/>
    <p:sldId id="259" r:id="rId6"/>
    <p:sldId id="280" r:id="rId7"/>
    <p:sldId id="311" r:id="rId8"/>
    <p:sldId id="312" r:id="rId9"/>
    <p:sldId id="313" r:id="rId10"/>
    <p:sldId id="314" r:id="rId11"/>
    <p:sldId id="305" r:id="rId12"/>
    <p:sldId id="293" r:id="rId13"/>
    <p:sldId id="294" r:id="rId14"/>
    <p:sldId id="295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CC"/>
    <a:srgbClr val="41631B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78853" autoAdjust="0"/>
  </p:normalViewPr>
  <p:slideViewPr>
    <p:cSldViewPr snapToGrid="0" showGuides="1">
      <p:cViewPr varScale="1">
        <p:scale>
          <a:sx n="55" d="100"/>
          <a:sy n="55" d="100"/>
        </p:scale>
        <p:origin x="1600" y="44"/>
      </p:cViewPr>
      <p:guideLst>
        <p:guide orient="horz" pos="2160"/>
        <p:guide pos="2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80" d="100"/>
          <a:sy n="80" d="100"/>
        </p:scale>
        <p:origin x="-2058" y="-17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6122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Mobile			</a:t>
            </a:r>
            <a:r>
              <a:rPr lang="en-US" sz="1200" b="0" baseline="0" dirty="0" smtClean="0">
                <a:latin typeface="Arial" pitchFamily="34" charset="0"/>
                <a:cs typeface="Arial" pitchFamily="34" charset="0"/>
              </a:rPr>
              <a:t>                        </a:t>
            </a:r>
            <a:r>
              <a:rPr lang="en-US" sz="1200" b="0" dirty="0" smtClean="0">
                <a:latin typeface="Arial" pitchFamily="34" charset="0"/>
                <a:cs typeface="Arial" pitchFamily="34" charset="0"/>
              </a:rPr>
              <a:t>Working with List Views </a:t>
            </a:r>
            <a:endParaRPr lang="en-US" sz="1200" b="0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5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06440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602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032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0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</a:p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nswer 1 : option 3</a:t>
            </a:r>
          </a:p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nswer 2 : true</a:t>
            </a:r>
          </a:p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nswer 3 : option 2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071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0835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Everybody needs lists of data within their web applications. A list is one of the most common user interface controls used. Lists may be simply a list of entries (like contact names), tabular in form (a grid), or even appear collapsed and respond to user input (combo box). </a:t>
            </a:r>
          </a:p>
          <a:p>
            <a:r>
              <a:rPr lang="en-IN" sz="10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e </a:t>
            </a:r>
            <a:r>
              <a:rPr lang="en-IN" sz="1000" kern="1200" baseline="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jQuery</a:t>
            </a:r>
            <a:r>
              <a:rPr lang="en-IN" sz="10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Mobile framework thus provides a set of list types, each of which is best suited to certain situations and applications: we can have numbered lists, nested lists, lists with icons, thumbnails, and many other improvements, and user-friendly options that enhance the usability of list view elements.</a:t>
            </a:r>
            <a:endParaRPr lang="en-IN" dirty="0" smtClean="0"/>
          </a:p>
          <a:p>
            <a:r>
              <a:rPr lang="en-IN" dirty="0" err="1" smtClean="0"/>
              <a:t>JQuery</a:t>
            </a:r>
            <a:r>
              <a:rPr lang="en-IN" dirty="0" smtClean="0"/>
              <a:t> Mobile supports a list by using the </a:t>
            </a:r>
            <a:r>
              <a:rPr lang="en-IN" dirty="0" err="1" smtClean="0"/>
              <a:t>listview</a:t>
            </a:r>
            <a:r>
              <a:rPr lang="en-IN" dirty="0" smtClean="0"/>
              <a:t> widget. A list is defined by an ordered or unordered list applying the data-role="</a:t>
            </a:r>
            <a:r>
              <a:rPr lang="en-IN" dirty="0" err="1" smtClean="0"/>
              <a:t>listview</a:t>
            </a:r>
            <a:r>
              <a:rPr lang="en-IN" dirty="0" smtClean="0"/>
              <a:t>" attribute. </a:t>
            </a:r>
            <a:r>
              <a:rPr lang="en-IN" dirty="0" err="1" smtClean="0"/>
              <a:t>Eg</a:t>
            </a:r>
            <a:r>
              <a:rPr lang="en-IN" dirty="0" smtClean="0"/>
              <a:t>:</a:t>
            </a:r>
          </a:p>
          <a:p>
            <a:r>
              <a:rPr lang="en-IN" dirty="0" smtClean="0"/>
              <a:t>&lt;</a:t>
            </a:r>
            <a:r>
              <a:rPr lang="en-IN" dirty="0" err="1" smtClean="0"/>
              <a:t>ul</a:t>
            </a:r>
            <a:r>
              <a:rPr lang="en-IN" dirty="0" smtClean="0"/>
              <a:t> data-role="</a:t>
            </a:r>
            <a:r>
              <a:rPr lang="en-IN" dirty="0" err="1" smtClean="0"/>
              <a:t>listview</a:t>
            </a:r>
            <a:r>
              <a:rPr lang="en-IN" dirty="0" smtClean="0"/>
              <a:t>"&gt;</a:t>
            </a:r>
          </a:p>
          <a:p>
            <a:r>
              <a:rPr lang="en-IN" dirty="0" smtClean="0"/>
              <a:t>    &lt;</a:t>
            </a:r>
            <a:r>
              <a:rPr lang="en-IN" dirty="0" err="1" smtClean="0"/>
              <a:t>li</a:t>
            </a:r>
            <a:r>
              <a:rPr lang="en-IN" dirty="0" smtClean="0"/>
              <a:t>&gt;Item&lt;/</a:t>
            </a:r>
            <a:r>
              <a:rPr lang="en-IN" dirty="0" err="1" smtClean="0"/>
              <a:t>li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    &lt;</a:t>
            </a:r>
            <a:r>
              <a:rPr lang="en-IN" dirty="0" err="1" smtClean="0"/>
              <a:t>li</a:t>
            </a:r>
            <a:r>
              <a:rPr lang="en-IN" dirty="0" smtClean="0"/>
              <a:t>&gt;Item&lt;/</a:t>
            </a:r>
            <a:r>
              <a:rPr lang="en-IN" dirty="0" err="1" smtClean="0"/>
              <a:t>li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    &lt;</a:t>
            </a:r>
            <a:r>
              <a:rPr lang="en-IN" dirty="0" err="1" smtClean="0"/>
              <a:t>li</a:t>
            </a:r>
            <a:r>
              <a:rPr lang="en-IN" dirty="0" smtClean="0"/>
              <a:t>&gt;Item&lt;/</a:t>
            </a:r>
            <a:r>
              <a:rPr lang="en-IN" dirty="0" err="1" smtClean="0"/>
              <a:t>li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&lt;/</a:t>
            </a:r>
            <a:r>
              <a:rPr lang="en-IN" dirty="0" err="1" smtClean="0"/>
              <a:t>ul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Each list item (Li tag) is an entry in the list, and can contain a variety of </a:t>
            </a:r>
            <a:r>
              <a:rPr lang="en-IN" dirty="0" err="1" smtClean="0"/>
              <a:t>markup</a:t>
            </a:r>
            <a:r>
              <a:rPr lang="en-IN" dirty="0" smtClean="0"/>
              <a:t> contents. For example, a list may have an H3 element to represent the list item's header. Also, a list can display additional content by using a paragraph tag (P). Alternatively, a list can solely be a hyperlink directing the user to another view or page.</a:t>
            </a:r>
          </a:p>
          <a:p>
            <a:r>
              <a:rPr lang="en-IN" dirty="0" smtClean="0"/>
              <a:t>By default, tapping or swiping on list view elements has no effect. Such lists are called read-only lists. To convert the list items as </a:t>
            </a:r>
            <a:r>
              <a:rPr lang="en-IN" dirty="0" err="1" smtClean="0"/>
              <a:t>tappable</a:t>
            </a:r>
            <a:r>
              <a:rPr lang="en-IN" dirty="0" smtClean="0"/>
              <a:t> buttons, include anchor tags in the list item </a:t>
            </a:r>
            <a:r>
              <a:rPr lang="en-IN" dirty="0" err="1" smtClean="0"/>
              <a:t>markup</a:t>
            </a:r>
            <a:r>
              <a:rPr lang="en-IN" dirty="0" smtClean="0"/>
              <a:t> as shown in the next example and on the slide above.</a:t>
            </a:r>
          </a:p>
          <a:p>
            <a:r>
              <a:rPr lang="en-IN" dirty="0" smtClean="0"/>
              <a:t>&lt;</a:t>
            </a:r>
            <a:r>
              <a:rPr lang="en-IN" dirty="0" err="1" smtClean="0"/>
              <a:t>ul</a:t>
            </a:r>
            <a:r>
              <a:rPr lang="en-IN" dirty="0" smtClean="0"/>
              <a:t> data-role="</a:t>
            </a:r>
            <a:r>
              <a:rPr lang="en-IN" dirty="0" err="1" smtClean="0"/>
              <a:t>listview</a:t>
            </a:r>
            <a:r>
              <a:rPr lang="en-IN" dirty="0" smtClean="0"/>
              <a:t>"&gt;</a:t>
            </a:r>
          </a:p>
          <a:p>
            <a:r>
              <a:rPr lang="it-IT" dirty="0" smtClean="0"/>
              <a:t>       &lt;li&gt;&lt;a href="#"&gt;Item&lt;/a&gt;&lt;/li&gt;</a:t>
            </a:r>
          </a:p>
          <a:p>
            <a:r>
              <a:rPr lang="en-IN" dirty="0" smtClean="0"/>
              <a:t>&lt;/</a:t>
            </a:r>
            <a:r>
              <a:rPr lang="en-IN" dirty="0" err="1" smtClean="0"/>
              <a:t>ul</a:t>
            </a:r>
            <a:r>
              <a:rPr lang="en-IN" dirty="0" smtClean="0"/>
              <a:t>&gt;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34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Mobile applies its scripting to mobile devices which are known to support it and render the page correctly. Other browsers will fall back to a standard display as if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Mobile was not used at all.</a:t>
            </a:r>
          </a:p>
          <a:p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As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Mobile makes use of a single-page navigation model (which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allows for multiple pages to be present at the same time in the DOM)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we must make sure all of our forms (and form elements as well) have a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different form ID to prevent any kind of trouble.</a:t>
            </a:r>
          </a:p>
        </p:txBody>
      </p:sp>
    </p:spTree>
    <p:extLst>
      <p:ext uri="{BB962C8B-B14F-4D97-AF65-F5344CB8AC3E}">
        <p14:creationId xmlns:p14="http://schemas.microsoft.com/office/powerpoint/2010/main" val="6612368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List items can be turned into dividers to organize and group the list items. This is done by adding the data-role="list-divider" to any list ite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1922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By nesting child </a:t>
            </a:r>
            <a:r>
              <a:rPr lang="en-IN" dirty="0" err="1" smtClean="0"/>
              <a:t>ul</a:t>
            </a:r>
            <a:r>
              <a:rPr lang="en-IN" dirty="0" smtClean="0"/>
              <a:t> or </a:t>
            </a:r>
            <a:r>
              <a:rPr lang="en-IN" dirty="0" err="1" smtClean="0"/>
              <a:t>ol</a:t>
            </a:r>
            <a:r>
              <a:rPr lang="en-IN" dirty="0" smtClean="0"/>
              <a:t> inside list items, you can create nested lists. When a list item with a child list is clicked, the framework will show a new page populated with the title of the parent in the header and the list of child elements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065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To make a split list item, simply add a second link inside the </a:t>
            </a:r>
            <a:r>
              <a:rPr lang="en-IN" dirty="0" err="1" smtClean="0"/>
              <a:t>li</a:t>
            </a:r>
            <a:r>
              <a:rPr lang="en-IN" dirty="0" smtClean="0"/>
              <a:t> and the framework will add a vertical divider line, style the link as an icon-only arrow button, and set the title attribute of the link to the text of the link for accessibility.</a:t>
            </a:r>
          </a:p>
          <a:p>
            <a:r>
              <a:rPr lang="en-IN" dirty="0" smtClean="0"/>
              <a:t>You can set the icon for the right split icon by specifying a data-split-icon attribute on the </a:t>
            </a:r>
            <a:r>
              <a:rPr lang="en-IN" dirty="0" err="1" smtClean="0"/>
              <a:t>listview</a:t>
            </a:r>
            <a:r>
              <a:rPr lang="en-IN" dirty="0" smtClean="0"/>
              <a:t> with any</a:t>
            </a:r>
            <a:r>
              <a:rPr lang="en-IN" baseline="0" dirty="0" smtClean="0"/>
              <a:t> icon name</a:t>
            </a:r>
            <a:r>
              <a:rPr lang="en-IN" dirty="0" smtClean="0"/>
              <a:t> you want. The default icon is "arrow-r“. By adding a data-icon attribute to the list item, you can set individual icons for each spli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2038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IN" dirty="0" smtClean="0"/>
              <a:t>To add thumbnails to the left of a list item, simply add an image inside a list item as the first child element. The framework will scale the image to 80 pixels square. To use standard 16x16 pixel icons in list items, add the class of </a:t>
            </a:r>
            <a:r>
              <a:rPr lang="en-IN" dirty="0" err="1" smtClean="0"/>
              <a:t>ui</a:t>
            </a:r>
            <a:r>
              <a:rPr lang="en-IN" dirty="0" smtClean="0"/>
              <a:t>-</a:t>
            </a:r>
            <a:r>
              <a:rPr lang="en-IN" dirty="0" err="1" smtClean="0"/>
              <a:t>li</a:t>
            </a:r>
            <a:r>
              <a:rPr lang="en-IN" dirty="0" smtClean="0"/>
              <a:t>-icon to the image element.</a:t>
            </a:r>
          </a:p>
          <a:p>
            <a:r>
              <a:rPr lang="en-IN" sz="10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umbnails are images that are normally displayed flush with the left of the list item, while icons are smaller and are normally vertically </a:t>
            </a:r>
            <a:r>
              <a:rPr lang="en-IN" sz="1000" kern="1200" baseline="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centered</a:t>
            </a:r>
            <a:r>
              <a:rPr lang="en-IN" sz="10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in the list ite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5568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ode for these demos has</a:t>
            </a:r>
            <a:r>
              <a:rPr lang="en-US" baseline="0" dirty="0" smtClean="0"/>
              <a:t> been discussed in the earlier slid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Pls. see the demos in lesson-5 folder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416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690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21181827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4956688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775427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739624078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69796874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25689731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515465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9462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518862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2070" y="3000836"/>
            <a:ext cx="5652089" cy="1143008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 templat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72070" y="1687056"/>
            <a:ext cx="5652089" cy="128588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ts val="42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 templat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445025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" y="1214422"/>
            <a:ext cx="8229600" cy="4892040"/>
          </a:xfrm>
        </p:spPr>
        <p:txBody>
          <a:bodyPr/>
          <a:lstStyle>
            <a:lvl1pPr marL="347663" indent="-347663">
              <a:buClr>
                <a:srgbClr val="FF9900"/>
              </a:buClr>
              <a:defRPr sz="2000" b="1">
                <a:solidFill>
                  <a:schemeClr val="tx2"/>
                </a:solidFill>
              </a:defRPr>
            </a:lvl1pPr>
            <a:lvl2pPr marL="739775" indent="-292100">
              <a:buClr>
                <a:srgbClr val="FF9900"/>
              </a:buClr>
              <a:defRPr sz="1800">
                <a:solidFill>
                  <a:schemeClr val="tx2"/>
                </a:solidFill>
              </a:defRPr>
            </a:lvl2pPr>
            <a:lvl3pPr marL="1089025" indent="-2794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defRPr lang="en-US" sz="16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22400" indent="-26035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defRPr lang="en-US" sz="14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71650" indent="-131763">
              <a:buClr>
                <a:srgbClr val="FF9900"/>
              </a:buClr>
              <a:defRPr lang="en-IN" sz="1200" kern="1200" dirty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1076325" lvl="2" indent="-2667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  <a:p>
            <a:pPr marL="1438275" lvl="3" indent="-276225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–"/>
            </a:pPr>
            <a:r>
              <a:rPr lang="en-US" dirty="0" smtClean="0"/>
              <a:t>Fourth level</a:t>
            </a:r>
          </a:p>
          <a:p>
            <a:pPr marL="1790700" lvl="4" indent="-2667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»"/>
            </a:pPr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5720" y="64008"/>
            <a:ext cx="6858048" cy="85725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5095796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36081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9389758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0911484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5990420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314894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0585764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649693738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Relationship Id="rId27" Type="http://schemas.openxmlformats.org/officeDocument/2006/relationships/tags" Target="../tags/tag6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8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5761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56" r:id="rId19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jQuery</a:t>
            </a:r>
            <a:r>
              <a:rPr lang="en-US" dirty="0" smtClean="0"/>
              <a:t> Mobile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Lesson 05 : Working with List Views 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this lesson, you learnt:</a:t>
            </a:r>
          </a:p>
          <a:p>
            <a:pPr lvl="1"/>
            <a:r>
              <a:rPr lang="en-US" dirty="0" smtClean="0"/>
              <a:t>Overview of list views  </a:t>
            </a:r>
            <a:endParaRPr lang="en-IN" dirty="0" smtClean="0"/>
          </a:p>
          <a:p>
            <a:pPr lvl="1"/>
            <a:r>
              <a:rPr lang="en-US" dirty="0" smtClean="0"/>
              <a:t>Basic list views  </a:t>
            </a:r>
            <a:endParaRPr lang="en-IN" dirty="0" smtClean="0"/>
          </a:p>
          <a:p>
            <a:pPr lvl="1"/>
            <a:r>
              <a:rPr lang="en-US" dirty="0" smtClean="0"/>
              <a:t>Advanced list views</a:t>
            </a:r>
          </a:p>
          <a:p>
            <a:pPr lvl="1"/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lvl="1" indent="-342900"/>
            <a:r>
              <a:rPr lang="en-US" sz="2000" b="1" dirty="0" smtClean="0"/>
              <a:t>Question 1 : In Split button list, y</a:t>
            </a:r>
            <a:r>
              <a:rPr lang="en-IN" sz="2000" b="1" dirty="0" err="1" smtClean="0"/>
              <a:t>ou</a:t>
            </a:r>
            <a:r>
              <a:rPr lang="en-IN" sz="2000" b="1" dirty="0" smtClean="0"/>
              <a:t> can set the icon for the right split icon by specifying a _____ attribute on the </a:t>
            </a:r>
            <a:r>
              <a:rPr lang="en-IN" sz="2000" b="1" dirty="0" err="1" smtClean="0"/>
              <a:t>listview</a:t>
            </a:r>
            <a:r>
              <a:rPr lang="en-IN" sz="2000" b="1" dirty="0" smtClean="0"/>
              <a:t> </a:t>
            </a:r>
            <a:endParaRPr lang="en-US" sz="2000" b="1" dirty="0" smtClean="0"/>
          </a:p>
          <a:p>
            <a:pPr lvl="1"/>
            <a:r>
              <a:rPr lang="en-US" dirty="0" smtClean="0"/>
              <a:t>Option 1 : </a:t>
            </a:r>
            <a:r>
              <a:rPr lang="en-IN" b="1" dirty="0" smtClean="0"/>
              <a:t>data-icon</a:t>
            </a:r>
            <a:endParaRPr lang="en-US" dirty="0" smtClean="0"/>
          </a:p>
          <a:p>
            <a:pPr lvl="1"/>
            <a:r>
              <a:rPr lang="en-US" dirty="0" smtClean="0"/>
              <a:t>Option 2 : </a:t>
            </a:r>
            <a:r>
              <a:rPr lang="en-IN" b="1" dirty="0" smtClean="0"/>
              <a:t>data-</a:t>
            </a:r>
            <a:r>
              <a:rPr lang="en-IN" b="1" dirty="0" err="1" smtClean="0"/>
              <a:t>splitbutton</a:t>
            </a:r>
            <a:r>
              <a:rPr lang="en-IN" b="1" dirty="0" smtClean="0"/>
              <a:t>-icon</a:t>
            </a:r>
            <a:endParaRPr lang="en-US" dirty="0" smtClean="0"/>
          </a:p>
          <a:p>
            <a:pPr lvl="1"/>
            <a:r>
              <a:rPr lang="en-US" dirty="0" smtClean="0"/>
              <a:t>Option 3 : </a:t>
            </a:r>
            <a:r>
              <a:rPr lang="en-IN" b="1" dirty="0" smtClean="0"/>
              <a:t>data-split-icon</a:t>
            </a:r>
            <a:endParaRPr lang="en-US" dirty="0" smtClean="0"/>
          </a:p>
          <a:p>
            <a:r>
              <a:rPr lang="en-US" dirty="0" smtClean="0"/>
              <a:t>Question 2 : </a:t>
            </a:r>
            <a:r>
              <a:rPr lang="en-IN" dirty="0" smtClean="0"/>
              <a:t>By default, tapping or swiping on list view elements has no effect</a:t>
            </a:r>
            <a:endParaRPr lang="en-US" dirty="0" smtClean="0"/>
          </a:p>
          <a:p>
            <a:pPr lvl="1"/>
            <a:r>
              <a:rPr lang="en-US" dirty="0" smtClean="0"/>
              <a:t>True/False</a:t>
            </a:r>
          </a:p>
          <a:p>
            <a:r>
              <a:rPr lang="en-US" dirty="0" smtClean="0"/>
              <a:t>Question 3: To divide lists by section headers, </a:t>
            </a:r>
            <a:r>
              <a:rPr lang="en-IN" dirty="0" smtClean="0"/>
              <a:t>apply the ____to any list item you identify as a divider</a:t>
            </a:r>
          </a:p>
          <a:p>
            <a:pPr lvl="1"/>
            <a:r>
              <a:rPr lang="en-US" dirty="0" smtClean="0"/>
              <a:t>Option 1 : </a:t>
            </a:r>
            <a:r>
              <a:rPr lang="en-IN" dirty="0" smtClean="0"/>
              <a:t>data-role="</a:t>
            </a:r>
            <a:r>
              <a:rPr lang="en-IN" dirty="0" err="1" smtClean="0"/>
              <a:t>listview</a:t>
            </a:r>
            <a:r>
              <a:rPr lang="en-IN" dirty="0" smtClean="0"/>
              <a:t>" </a:t>
            </a:r>
            <a:endParaRPr lang="en-US" dirty="0" smtClean="0"/>
          </a:p>
          <a:p>
            <a:pPr lvl="1"/>
            <a:r>
              <a:rPr lang="en-US" dirty="0" smtClean="0"/>
              <a:t>Option 2 : </a:t>
            </a:r>
            <a:r>
              <a:rPr lang="en-IN" dirty="0" smtClean="0"/>
              <a:t>data-role="list-divider" </a:t>
            </a:r>
            <a:endParaRPr lang="en-US" dirty="0" smtClean="0"/>
          </a:p>
          <a:p>
            <a:pPr lvl="1"/>
            <a:r>
              <a:rPr lang="en-US" dirty="0" smtClean="0"/>
              <a:t>Option 3 : </a:t>
            </a:r>
            <a:r>
              <a:rPr lang="en-IN" dirty="0" smtClean="0"/>
              <a:t>data-role=“list-separator" </a:t>
            </a:r>
            <a:endParaRPr lang="en-US" dirty="0" smtClean="0"/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this lesson, you will learn :</a:t>
            </a:r>
          </a:p>
          <a:p>
            <a:pPr lvl="1"/>
            <a:r>
              <a:rPr lang="en-US" dirty="0" smtClean="0"/>
              <a:t>Overview of list views  </a:t>
            </a:r>
            <a:endParaRPr lang="en-IN" dirty="0" smtClean="0"/>
          </a:p>
          <a:p>
            <a:pPr lvl="1"/>
            <a:r>
              <a:rPr lang="en-US" dirty="0" smtClean="0"/>
              <a:t>Basic list views  </a:t>
            </a:r>
            <a:endParaRPr lang="en-IN" dirty="0" smtClean="0"/>
          </a:p>
          <a:p>
            <a:pPr lvl="1"/>
            <a:r>
              <a:rPr lang="en-US" dirty="0" smtClean="0"/>
              <a:t>Advanced list views</a:t>
            </a:r>
          </a:p>
          <a:p>
            <a:pPr lvl="1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5.1 : </a:t>
            </a:r>
            <a:r>
              <a:rPr lang="en-US" sz="1200" dirty="0" smtClean="0"/>
              <a:t>Overview of list views 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US" sz="2400" b="1" dirty="0" smtClean="0"/>
              <a:t>List basic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A </a:t>
            </a:r>
            <a:r>
              <a:rPr lang="en-IN" dirty="0" err="1" smtClean="0"/>
              <a:t>listview</a:t>
            </a:r>
            <a:r>
              <a:rPr lang="en-IN" dirty="0" smtClean="0"/>
              <a:t> is coded as a simple unordered list containing linked list items with a data-role="</a:t>
            </a:r>
            <a:r>
              <a:rPr lang="en-IN" dirty="0" err="1" smtClean="0"/>
              <a:t>listview</a:t>
            </a:r>
            <a:r>
              <a:rPr lang="en-IN" dirty="0" smtClean="0"/>
              <a:t>" attribute. </a:t>
            </a:r>
          </a:p>
          <a:p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395451" y="2304748"/>
            <a:ext cx="5491657" cy="1511893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</a:t>
            </a:r>
            <a:r>
              <a:rPr lang="it-IT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data-role="listview“</a:t>
            </a:r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acura.html"&gt;Acura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audi.html"&gt;Audi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bmw.html"&gt;BMW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ul&gt;</a:t>
            </a:r>
            <a:endPara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395451" y="4227932"/>
            <a:ext cx="5764925" cy="1910585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ol </a:t>
            </a:r>
            <a:r>
              <a:rPr lang="it-IT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data-role="listview"</a:t>
            </a:r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&lt;li&gt;&lt;a href="index.html"&gt;The Godfather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&lt;li&gt;&lt;a href="index.html"&gt;Casablanca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&lt;li&gt;&lt;a href="index.html"&gt;Schindler's List 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ol&gt;</a:t>
            </a:r>
            <a:endPara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392096" y="2336654"/>
            <a:ext cx="2246915" cy="1479987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81775" y="4394290"/>
            <a:ext cx="2414752" cy="1577867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5.2 : </a:t>
            </a:r>
            <a:r>
              <a:rPr lang="en-US" sz="1200" b="1" dirty="0" smtClean="0"/>
              <a:t>Basic list views 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IN" sz="2400" dirty="0"/>
              <a:t> </a:t>
            </a:r>
            <a:r>
              <a:rPr lang="en-IN" sz="2400" b="1" dirty="0"/>
              <a:t>List View Divider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o divide lists by section headers, </a:t>
            </a:r>
            <a:r>
              <a:rPr lang="en-IN" dirty="0" smtClean="0"/>
              <a:t>apply the data-role="list-divider" to any list item you identify as a divider</a:t>
            </a:r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666075" y="2535656"/>
            <a:ext cx="4340773" cy="2853557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data-role="listview"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 data-role="list-divider"&gt;A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&lt;a href="#"&gt;Arnav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&lt;a href="#"&gt;Asha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 data-role="list-divider"&gt;B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&lt;a href="#"&gt;Beena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&lt;a href="#"&gt;Beyonce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...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ul&gt;</a:t>
            </a:r>
            <a:endPara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33022" y="2535656"/>
            <a:ext cx="2817101" cy="3196458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5.2 : </a:t>
            </a:r>
            <a:r>
              <a:rPr lang="en-US" sz="1200" b="1" dirty="0" smtClean="0"/>
              <a:t>Basic list views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IN" sz="2400" dirty="0"/>
              <a:t> </a:t>
            </a:r>
            <a:r>
              <a:rPr lang="en-IN" sz="2400" b="1" dirty="0"/>
              <a:t>Nested List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List view widget supports nesting of lists. Nested lists can be created by nesting child </a:t>
            </a:r>
            <a:r>
              <a:rPr lang="en-IN" dirty="0" err="1" smtClean="0"/>
              <a:t>ul</a:t>
            </a:r>
            <a:r>
              <a:rPr lang="en-IN" dirty="0" smtClean="0"/>
              <a:t> or </a:t>
            </a:r>
            <a:r>
              <a:rPr lang="en-IN" dirty="0" err="1" smtClean="0"/>
              <a:t>ol</a:t>
            </a:r>
            <a:r>
              <a:rPr lang="en-IN" dirty="0" smtClean="0"/>
              <a:t> inside list items.</a:t>
            </a:r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422527" y="2420008"/>
            <a:ext cx="5870029" cy="3894080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h3&gt;Animals&lt;/h3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p&gt;All your favorites !&lt;/p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data-role="listview"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li&gt;Pets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&lt;ul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index.html"&gt;Canary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index.html"&gt;Cat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li&gt;&lt;a href="index.html"&gt;Dog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....	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&lt;/ul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li&gt;Farm animals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	&lt;ul&gt; ...</a:t>
            </a:r>
            <a:endPara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16567" y="2031437"/>
            <a:ext cx="2482577" cy="2402105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77516" y="4609113"/>
            <a:ext cx="2095500" cy="1704975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5.3 : Advanced</a:t>
            </a:r>
            <a:r>
              <a:rPr lang="en-US" sz="1200" b="1" dirty="0" smtClean="0"/>
              <a:t> list views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IN" sz="2400" dirty="0"/>
              <a:t> </a:t>
            </a:r>
            <a:r>
              <a:rPr lang="en-IN" sz="2400" b="1" dirty="0"/>
              <a:t>Split </a:t>
            </a:r>
            <a:r>
              <a:rPr lang="en-IN" sz="2400" b="1" dirty="0" smtClean="0"/>
              <a:t>Button List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Split button lists allow users to perform more than one action on the same list item.</a:t>
            </a:r>
          </a:p>
          <a:p>
            <a:pPr lvl="1"/>
            <a:r>
              <a:rPr lang="en-IN" dirty="0" smtClean="0"/>
              <a:t>A split button is used to offer two independently clickable items; the main content of the list, and an icon to the right of the list displaying an icon that triggers some functionality.</a:t>
            </a:r>
          </a:p>
          <a:p>
            <a:pPr lvl="1"/>
            <a:r>
              <a:rPr lang="en-IN" dirty="0" smtClean="0"/>
              <a:t>To create a split list item, simply add a second link to the list item; </a:t>
            </a:r>
            <a:r>
              <a:rPr lang="en-IN" dirty="0" err="1" smtClean="0"/>
              <a:t>jQuery</a:t>
            </a:r>
            <a:r>
              <a:rPr lang="en-IN" dirty="0" smtClean="0"/>
              <a:t> Mobile adds a vertical line to separate the two buttons.</a:t>
            </a:r>
          </a:p>
          <a:p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404648" y="3676814"/>
            <a:ext cx="4593021" cy="2771283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data-role="listview"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a href="#"&gt;Gearboxes&lt;/a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a href="purchase.html"&gt;Buy &lt;/a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a href="#"&gt;Mechanical seals&lt;/a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&lt;a href="purchase.html"&gt;Buy &lt;/a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..    &lt;/ul&gt;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28239" y="3931457"/>
            <a:ext cx="3177901" cy="2046069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kern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5.3 : Advanced</a:t>
            </a:r>
            <a:r>
              <a:rPr lang="en-US" sz="1200" dirty="0" smtClean="0"/>
              <a:t> list views </a:t>
            </a:r>
            <a:r>
              <a:rPr lang="en-IN" sz="1200" dirty="0" smtClean="0"/>
              <a:t/>
            </a:r>
            <a:br>
              <a:rPr lang="en-IN" sz="1200" dirty="0" smtClean="0"/>
            </a:br>
            <a:r>
              <a:rPr lang="en-IN" sz="2400" dirty="0"/>
              <a:t> </a:t>
            </a:r>
            <a:r>
              <a:rPr lang="en-IN" sz="2400" b="1" dirty="0" smtClean="0"/>
              <a:t>Thumbnails &amp; icon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To add thumbnails to the left of a list item, simply add an image inside a list item as the first child element.</a:t>
            </a:r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141889" y="2743001"/>
            <a:ext cx="6290441" cy="2995448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ul data-role="listview"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li&gt;&lt;a href="#"&gt;&lt;img src=‘us.png' class='ui-li-icon'/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  United States  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li&gt;&lt;a href="#"&gt;&lt;img src=‘gb.png' class='ui-li-icon'/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  Great Britain 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&lt;li&gt;&lt;a href="#"&gt;&lt;img src=‘de.png' class='ui-li-icon'/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 Germany  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&lt;li&gt;&lt;a href="#"&gt;&lt;img src=‘gf.png' class='ui-li-icon'/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  France&lt;/a&gt;&lt;/li&gt;</a:t>
            </a:r>
          </a:p>
          <a:p>
            <a:r>
              <a:rPr lang="it-IT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&lt;/ul&gt;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53049" y="2933501"/>
            <a:ext cx="2490951" cy="2614448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asicListview.html</a:t>
            </a:r>
          </a:p>
          <a:p>
            <a:r>
              <a:rPr lang="en-US" dirty="0" smtClean="0"/>
              <a:t>ListviewDivider.html</a:t>
            </a:r>
          </a:p>
          <a:p>
            <a:r>
              <a:rPr lang="en-US" dirty="0" smtClean="0"/>
              <a:t>ListviewFilter.html</a:t>
            </a:r>
          </a:p>
          <a:p>
            <a:r>
              <a:rPr lang="en-US" dirty="0" smtClean="0"/>
              <a:t>ListviewIcons.html</a:t>
            </a:r>
          </a:p>
          <a:p>
            <a:r>
              <a:rPr lang="en-US" dirty="0" smtClean="0"/>
              <a:t>ListviewRich.html</a:t>
            </a:r>
          </a:p>
          <a:p>
            <a:r>
              <a:rPr lang="en-US" dirty="0" smtClean="0"/>
              <a:t>NestedList.html</a:t>
            </a:r>
          </a:p>
          <a:p>
            <a:r>
              <a:rPr lang="en-US" dirty="0" smtClean="0"/>
              <a:t>SplitButtons.htm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b Topic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evel xmlns="2792f03d-d3b8-434f-88d1-32c1c69d1f7a">L1</Level>
    <Category xmlns="2792f03d-d3b8-434f-88d1-32c1c69d1f7a">Module Artifact</Category>
    <Material_x0020_Type xmlns="2792f03d-d3b8-434f-88d1-32c1c69d1f7a">Class book</Material_x0020_Typ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EA185A-43D0-42B0-8C67-B78D48D7A9A0}"/>
</file>

<file path=customXml/itemProps2.xml><?xml version="1.0" encoding="utf-8"?>
<ds:datastoreItem xmlns:ds="http://schemas.openxmlformats.org/officeDocument/2006/customXml" ds:itemID="{2021A1B5-1157-48A0-A8A3-4BE74AE5F886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XX-Template Capgemini</Template>
  <TotalTime>1530</TotalTime>
  <Words>1456</Words>
  <Application>Microsoft Office PowerPoint</Application>
  <PresentationFormat>On-screen Show (4:3)</PresentationFormat>
  <Paragraphs>136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jQuery Mobile</vt:lpstr>
      <vt:lpstr>Lesson Objectives</vt:lpstr>
      <vt:lpstr>5.1 : Overview of list views   List basics</vt:lpstr>
      <vt:lpstr>5.2 : Basic list views    List View Dividers</vt:lpstr>
      <vt:lpstr>5.2 : Basic list views   Nested Lists</vt:lpstr>
      <vt:lpstr>5.3 : Advanced list views   Split Button Lists</vt:lpstr>
      <vt:lpstr>5.3 : Advanced list views   Thumbnails &amp; icons</vt:lpstr>
      <vt:lpstr>Demo</vt:lpstr>
      <vt:lpstr>  Lab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302</cp:revision>
  <dcterms:created xsi:type="dcterms:W3CDTF">2012-05-18T02:59:15Z</dcterms:created>
  <dcterms:modified xsi:type="dcterms:W3CDTF">2017-07-11T05:1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